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</p:sldMasterIdLst>
  <p:notesMasterIdLst>
    <p:notesMasterId r:id="rId9"/>
  </p:notesMasterIdLst>
  <p:handoutMasterIdLst>
    <p:handoutMasterId r:id="rId10"/>
  </p:handoutMasterIdLst>
  <p:sldIdLst>
    <p:sldId id="2146849870" r:id="rId5"/>
    <p:sldId id="2141411793" r:id="rId6"/>
    <p:sldId id="2146849824" r:id="rId7"/>
    <p:sldId id="2146850006" r:id="rId8"/>
    <p:sldId id="2146850007" r:id="rId18"/>
  </p:sldIdLst>
  <p:sldSz cx="12192000" cy="6858000"/>
  <p:notesSz cx="6797675" cy="992822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8" d="100"/>
          <a:sy n="128" d="100"/>
        </p:scale>
        <p:origin x="63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5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B9D64-BBB9-5B98-F1B4-5B52BC3CD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9D5B7-C8B7-FC96-C613-9B66B41DF2B7}"/>
              </a:ext>
            </a:extLst>
          </p:cNvPr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4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5C6D7F0E-6964-9921-CCC5-A9C7161DC35F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27488273-966C-A1B1-B849-BEE0E871FBD5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7AEC51D8-D13D-D250-4B12-E6823B46FF9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55F7A083-7C0C-60DD-E452-A2CB3951DFF5}"/>
              </a:ext>
            </a:extLst>
          </p:cNvPr>
          <p:cNvSpPr/>
          <p:nvPr userDrawn="1"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967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2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07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B2A592-4BF2-4F41-72ED-221BC2158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750B61-5B10-0E20-839C-40AA9DB79943}"/>
              </a:ext>
            </a:extLst>
          </p:cNvPr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2935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D440F41-1579-3E0A-6857-59B19AEB6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364132-193A-2F02-F515-D35E571B2B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CEB5E9-3070-574B-BC39-42009B34BE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sectionheader_637407051814700636" descr="Super Headline">
            <a:extLst>
              <a:ext uri="{FF2B5EF4-FFF2-40B4-BE49-F238E27FC236}">
                <a16:creationId xmlns:a16="http://schemas.microsoft.com/office/drawing/2014/main" id="{3110FBB9-5005-C8D0-5093-CE88BD885A02}"/>
              </a:ext>
            </a:extLst>
          </p:cNvPr>
          <p:cNvSpPr txBox="1"/>
          <p:nvPr userDrawn="1"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02460442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2.xml"/><Relationship Id="rId11" Type="http://schemas.openxmlformats.org/officeDocument/2006/relationships/tags" Target="../tags/tag3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3.emf"/><Relationship Id="rId5" Type="http://schemas.openxmlformats.org/officeDocument/2006/relationships/image" Target="../media/image4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slideLayout" Target="../slideLayouts/slideLayout4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5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tags" Target="../tags/tag28.xml"/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8.bin"/><Relationship Id="rId8" Type="http://schemas.openxmlformats.org/officeDocument/2006/relationships/image" Target="../media/image3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7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EYInterstate Light</vt:lpstr>
      <vt:lpstr>Wingdings 3</vt:lpstr>
      <vt:lpstr>7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8</cp:revision>
  <dcterms:created xsi:type="dcterms:W3CDTF">2021-10-06T10:51:33Z</dcterms:created>
  <dcterms:modified xsi:type="dcterms:W3CDTF">2024-01-03T12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